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93" r:id="rId2"/>
    <p:sldId id="304" r:id="rId3"/>
    <p:sldId id="306" r:id="rId4"/>
    <p:sldId id="305" r:id="rId5"/>
    <p:sldId id="302" r:id="rId6"/>
    <p:sldId id="307" r:id="rId7"/>
  </p:sldIdLst>
  <p:sldSz cx="9144000" cy="6858000" type="screen4x3"/>
  <p:notesSz cx="7010400" cy="93726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20000"/>
    <a:srgbClr val="000000"/>
    <a:srgbClr val="FFFFCC"/>
    <a:srgbClr val="FEBE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76" autoAdjust="0"/>
    <p:restoredTop sz="91859" autoAdjust="0"/>
  </p:normalViewPr>
  <p:slideViewPr>
    <p:cSldViewPr>
      <p:cViewPr varScale="1">
        <p:scale>
          <a:sx n="95" d="100"/>
          <a:sy n="95" d="100"/>
        </p:scale>
        <p:origin x="1008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88D259-1098-4BDB-B14E-15CDE953700C}" type="datetimeFigureOut">
              <a:rPr lang="en-US" smtClean="0"/>
              <a:pPr/>
              <a:t>12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51350"/>
            <a:ext cx="5607050" cy="42179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0270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902700"/>
            <a:ext cx="303847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5DDF8B-89A0-4886-9CD1-FF9135E3ABBF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46EF80-699D-4073-BF77-C56B1AC26F8B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362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5DDF8B-89A0-4886-9CD1-FF9135E3ABB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1616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TNMP Powerpoint art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5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99275" y="5634038"/>
            <a:ext cx="1635125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33400"/>
            <a:ext cx="8382000" cy="1470025"/>
          </a:xfrm>
        </p:spPr>
        <p:txBody>
          <a:bodyPr/>
          <a:lstStyle>
            <a:lvl1pPr algn="ctr"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" y="5410200"/>
            <a:ext cx="3048000" cy="12192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 userDrawn="1"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177800">
            <a:solidFill>
              <a:srgbClr val="FEBE1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5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" y="228600"/>
            <a:ext cx="13716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228600"/>
            <a:ext cx="6248400" cy="838200"/>
          </a:xfrm>
        </p:spPr>
        <p:txBody>
          <a:bodyPr/>
          <a:lstStyle>
            <a:lvl1pPr algn="r">
              <a:defRPr sz="32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495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D188EF-2A6A-4843-ABE6-A9B3F52DC0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4"/>
          <p:cNvSpPr>
            <a:spLocks noChangeShapeType="1"/>
          </p:cNvSpPr>
          <p:nvPr userDrawn="1"/>
        </p:nvSpPr>
        <p:spPr bwMode="auto">
          <a:xfrm>
            <a:off x="0" y="1143000"/>
            <a:ext cx="9144000" cy="0"/>
          </a:xfrm>
          <a:prstGeom prst="line">
            <a:avLst/>
          </a:prstGeom>
          <a:noFill/>
          <a:ln w="177800">
            <a:solidFill>
              <a:srgbClr val="FEBE1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/>
          </a:p>
        </p:txBody>
      </p:sp>
      <p:pic>
        <p:nvPicPr>
          <p:cNvPr id="6" name="Picture 8" descr="I-210+c_hires meter-gif.gif"/>
          <p:cNvPicPr>
            <a:picLocks noChangeAspect="1"/>
          </p:cNvPicPr>
          <p:nvPr userDrawn="1"/>
        </p:nvPicPr>
        <p:blipFill>
          <a:blip r:embed="rId3" cstate="print"/>
          <a:srcRect t="8824" r="8633"/>
          <a:stretch>
            <a:fillRect/>
          </a:stretch>
        </p:blipFill>
        <p:spPr bwMode="auto">
          <a:xfrm>
            <a:off x="6781800" y="0"/>
            <a:ext cx="2362200" cy="236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838200"/>
          </a:xfrm>
        </p:spPr>
        <p:txBody>
          <a:bodyPr/>
          <a:lstStyle>
            <a:lvl1pPr algn="l">
              <a:defRPr sz="3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49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B8D63-EF4C-46EE-9F05-AAC47C1A38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228600" y="1143000"/>
            <a:ext cx="8686800" cy="51816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6781800" y="5867400"/>
            <a:ext cx="1447800" cy="838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6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42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28600"/>
            <a:ext cx="7772400" cy="838200"/>
          </a:xfrm>
        </p:spPr>
        <p:txBody>
          <a:bodyPr/>
          <a:lstStyle>
            <a:lvl1pPr algn="l">
              <a:defRPr sz="36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600200"/>
            <a:ext cx="7772400" cy="449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0" y="2286000"/>
            <a:ext cx="9144000" cy="0"/>
          </a:xfrm>
          <a:prstGeom prst="line">
            <a:avLst/>
          </a:prstGeom>
          <a:ln w="1778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0" y="5181600"/>
            <a:ext cx="9144000" cy="0"/>
          </a:xfrm>
          <a:prstGeom prst="line">
            <a:avLst/>
          </a:prstGeom>
          <a:ln w="177800">
            <a:solidFill>
              <a:srgbClr val="FEBE1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42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100387"/>
            <a:ext cx="7772400" cy="1362075"/>
          </a:xfrm>
        </p:spPr>
        <p:txBody>
          <a:bodyPr anchor="t"/>
          <a:lstStyle>
            <a:lvl1pPr algn="l">
              <a:defRPr sz="4000" b="1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60020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35052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6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34200" y="5986463"/>
            <a:ext cx="1371600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100860774 digital numbers-1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1905000"/>
            <a:ext cx="533400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9" descr="100860774 digital numbers-2.png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" y="3194050"/>
            <a:ext cx="533400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10" descr="100860774 digital numbers-3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5613" y="4495800"/>
            <a:ext cx="534987" cy="617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6800" y="2057400"/>
            <a:ext cx="2398713" cy="4068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\\Pray-osx\documents on pray-osx\ PNM Jobs-Paula\TNMP\TNMP LOGOS\TNMP 07 logo TM\TNMP-cmyk-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05000" y="914400"/>
            <a:ext cx="5638800" cy="2643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3962399"/>
            <a:ext cx="8382000" cy="121920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5257800"/>
            <a:ext cx="7543800" cy="7620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B15D228E-8B3E-4E1E-B853-2F15541C34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762000" y="4495800"/>
            <a:ext cx="76962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sz="2500" b="1" dirty="0">
                <a:solidFill>
                  <a:srgbClr val="000000"/>
                </a:solidFill>
              </a:rPr>
              <a:t>Docket No. 51387 – Supply Chain Impacts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2000" b="1" dirty="0">
                <a:solidFill>
                  <a:srgbClr val="000000"/>
                </a:solidFill>
              </a:rPr>
              <a:t>Review with RMS</a:t>
            </a:r>
          </a:p>
          <a:p>
            <a:pPr eaLnBrk="1" fontAlgn="auto" hangingPunct="1">
              <a:spcAft>
                <a:spcPts val="0"/>
              </a:spcAft>
              <a:defRPr/>
            </a:pPr>
            <a:endParaRPr lang="en-US" sz="1200" b="1" dirty="0">
              <a:solidFill>
                <a:srgbClr val="000000"/>
              </a:solidFill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1600" b="1" dirty="0">
                <a:solidFill>
                  <a:srgbClr val="000000"/>
                </a:solidFill>
              </a:rPr>
              <a:t>December 7, 2021</a:t>
            </a:r>
          </a:p>
        </p:txBody>
      </p:sp>
    </p:spTree>
    <p:extLst>
      <p:ext uri="{BB962C8B-B14F-4D97-AF65-F5344CB8AC3E}">
        <p14:creationId xmlns:p14="http://schemas.microsoft.com/office/powerpoint/2010/main" val="1636307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A0D92-541E-4D0B-A24D-89DBB282E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T&amp;T 3G Sun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B14BEC-7528-4B29-9002-FC895B2A5D4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On February 21, 2019, AT&amp;T notified TNMP of their intentions to turn down the 3G network in February 2022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Early discussions suggested that there was some “fluidity” to that date, however since then, TNMP has not received confirmation of any timing adjustment.</a:t>
            </a:r>
          </a:p>
          <a:p>
            <a:r>
              <a:rPr lang="en-US" sz="2200" dirty="0"/>
              <a:t>TNMP Management has had numerous discussions with AT&amp;T counterparts, so far to no avail.</a:t>
            </a:r>
          </a:p>
          <a:p>
            <a:r>
              <a:rPr lang="en-US" sz="2200" dirty="0"/>
              <a:t>TNMP has made a formal request for a date extension.</a:t>
            </a:r>
          </a:p>
        </p:txBody>
      </p:sp>
    </p:spTree>
    <p:extLst>
      <p:ext uri="{BB962C8B-B14F-4D97-AF65-F5344CB8AC3E}">
        <p14:creationId xmlns:p14="http://schemas.microsoft.com/office/powerpoint/2010/main" val="26127595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B389D-32C1-4AEC-BEFC-5DC78A94C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G Meters Deploy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707673-88EF-4D0E-A79C-5D85500BAC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/>
              <a:t>As of February 2020, there were </a:t>
            </a:r>
            <a:r>
              <a:rPr lang="en-US" sz="2800" b="1" dirty="0">
                <a:solidFill>
                  <a:schemeClr val="accent2"/>
                </a:solidFill>
              </a:rPr>
              <a:t>173,737</a:t>
            </a:r>
            <a:r>
              <a:rPr lang="en-US" sz="2800" dirty="0"/>
              <a:t> meters deployed on the AT&amp;T 3G network throughout TNMP service territory, which is consistent with filings under Docket No. 51387.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2800" dirty="0"/>
              <a:t>As of October 2021, there are </a:t>
            </a:r>
            <a:r>
              <a:rPr lang="en-US" sz="2800" b="1" dirty="0">
                <a:solidFill>
                  <a:schemeClr val="accent2"/>
                </a:solidFill>
              </a:rPr>
              <a:t>146,293</a:t>
            </a:r>
            <a:r>
              <a:rPr lang="en-US" sz="2800" dirty="0"/>
              <a:t> meters deployed on the AT&amp;T 3G network.</a:t>
            </a:r>
          </a:p>
          <a:p>
            <a:pPr marL="0" indent="0">
              <a:buNone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7881854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3714F-7D54-42F5-BDB7-F478816F61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pply Chain Impac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D09A7A-9586-47DC-91A9-0B7083DA1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200" dirty="0"/>
              <a:t>On July 16, 2021, TNMP’s AMI vendor notified TNMP of potential supply chain disruptions due to COVID-19.</a:t>
            </a:r>
          </a:p>
          <a:p>
            <a:pPr marL="0" indent="0">
              <a:buNone/>
            </a:pPr>
            <a:endParaRPr lang="en-US" sz="800" dirty="0"/>
          </a:p>
          <a:p>
            <a:pPr marL="0" indent="0">
              <a:buNone/>
            </a:pPr>
            <a:r>
              <a:rPr lang="en-US" sz="2200" dirty="0"/>
              <a:t>While the notice did not quantify the impact, TNMP has experienced a significant shortfall of meters to support the NextGen rollout.</a:t>
            </a:r>
          </a:p>
          <a:p>
            <a:r>
              <a:rPr lang="en-US" sz="2000" dirty="0"/>
              <a:t>TNMP had initially planned to receive and install NextGen meters to replace all 173,737 3G prior to the turndown.</a:t>
            </a:r>
          </a:p>
          <a:p>
            <a:r>
              <a:rPr lang="en-US" sz="2000" dirty="0"/>
              <a:t>TNMP now expects to receive and install approximately 31,000 NextGen meters prior to the 3G turndown.</a:t>
            </a:r>
          </a:p>
          <a:p>
            <a:pPr marL="0" indent="0">
              <a:buNone/>
            </a:pPr>
            <a:endParaRPr lang="en-US" sz="1200" dirty="0"/>
          </a:p>
          <a:p>
            <a:pPr marL="0" indent="0" algn="ctr">
              <a:buNone/>
            </a:pPr>
            <a:r>
              <a:rPr lang="en-US" sz="2200" i="1" dirty="0">
                <a:solidFill>
                  <a:srgbClr val="FF0000"/>
                </a:solidFill>
              </a:rPr>
              <a:t>TNMP expects to lose the ability to communicate with approximately 115,000 AMI meters beginning in March 2022.</a:t>
            </a:r>
          </a:p>
        </p:txBody>
      </p:sp>
    </p:spTree>
    <p:extLst>
      <p:ext uri="{BB962C8B-B14F-4D97-AF65-F5344CB8AC3E}">
        <p14:creationId xmlns:p14="http://schemas.microsoft.com/office/powerpoint/2010/main" val="3948448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8E061-7DD2-4E3B-BE31-B342C7257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tig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64FFC-95D8-4873-BFC4-31D100DA9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600200"/>
            <a:ext cx="7924800" cy="4495800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TNMP is currently working with utility service provider(s) to implement a manual meter reading process in the interim.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Current guidance, projects that TNMP will not receive enough meters to fully remediate the 3G turndown, until </a:t>
            </a:r>
            <a:r>
              <a:rPr lang="en-US" sz="2400" b="1" dirty="0">
                <a:solidFill>
                  <a:srgbClr val="FF0000"/>
                </a:solidFill>
              </a:rPr>
              <a:t>EOY 2022</a:t>
            </a:r>
            <a:r>
              <a:rPr lang="en-US" sz="2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117703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386090"/>
            <a:ext cx="6400800" cy="523220"/>
          </a:xfrm>
        </p:spPr>
        <p:txBody>
          <a:bodyPr/>
          <a:lstStyle/>
          <a:p>
            <a:pPr algn="r"/>
            <a:r>
              <a:rPr lang="en-US" dirty="0"/>
              <a:t>TNMP Service Territory</a:t>
            </a:r>
          </a:p>
        </p:txBody>
      </p: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31" y="1593664"/>
            <a:ext cx="5880369" cy="526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96000" y="1654719"/>
            <a:ext cx="2514600" cy="19266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ct val="55000"/>
              </a:spcBef>
            </a:pPr>
            <a:r>
              <a:rPr lang="en-US" sz="1400" dirty="0">
                <a:solidFill>
                  <a:srgbClr val="000000"/>
                </a:solidFill>
                <a:latin typeface="Calibri"/>
                <a:cs typeface="Arial" pitchFamily="34" charset="0"/>
              </a:rPr>
              <a:t>Total customer base of 262,646 in four operating areas within Texas, covering 7,100 square miles.</a:t>
            </a:r>
          </a:p>
          <a:p>
            <a:pPr>
              <a:spcBef>
                <a:spcPct val="55000"/>
              </a:spcBef>
            </a:pPr>
            <a:r>
              <a:rPr lang="en-US" sz="1400" dirty="0">
                <a:solidFill>
                  <a:srgbClr val="000000"/>
                </a:solidFill>
                <a:latin typeface="Calibri"/>
                <a:cs typeface="Arial" pitchFamily="34" charset="0"/>
              </a:rPr>
              <a:t>262,415</a:t>
            </a:r>
            <a:r>
              <a:rPr lang="en-US" sz="1400" baseline="30000" dirty="0">
                <a:solidFill>
                  <a:srgbClr val="000000"/>
                </a:solidFill>
                <a:latin typeface="Calibri"/>
                <a:cs typeface="Arial" pitchFamily="34" charset="0"/>
              </a:rPr>
              <a:t>*</a:t>
            </a:r>
            <a:r>
              <a:rPr lang="en-US" sz="1400" dirty="0">
                <a:solidFill>
                  <a:srgbClr val="000000"/>
                </a:solidFill>
                <a:latin typeface="Calibri"/>
                <a:cs typeface="Arial" pitchFamily="34" charset="0"/>
              </a:rPr>
              <a:t> TNMP customers are AMI-enabled: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en-US" alt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G – 146,293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</a:pPr>
            <a:r>
              <a:rPr lang="en-US" altLang="en-US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G – 116,122</a:t>
            </a:r>
          </a:p>
          <a:p>
            <a:pPr eaLnBrk="0" hangingPunct="0">
              <a:spcBef>
                <a:spcPts val="900"/>
              </a:spcBef>
            </a:pPr>
            <a:r>
              <a:rPr lang="en-US" altLang="en-US" sz="1200" i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* As of Oct 2021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AF25FE3-2FA4-472C-97DD-150A4D886594}"/>
              </a:ext>
            </a:extLst>
          </p:cNvPr>
          <p:cNvSpPr/>
          <p:nvPr/>
        </p:nvSpPr>
        <p:spPr>
          <a:xfrm>
            <a:off x="1608408" y="3657600"/>
            <a:ext cx="1066800" cy="985278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68C895E-7E27-448B-BAE6-B558C873B5AF}"/>
              </a:ext>
            </a:extLst>
          </p:cNvPr>
          <p:cNvCxnSpPr>
            <a:cxnSpLocks/>
            <a:stCxn id="6" idx="3"/>
            <a:endCxn id="8" idx="0"/>
          </p:cNvCxnSpPr>
          <p:nvPr/>
        </p:nvCxnSpPr>
        <p:spPr>
          <a:xfrm flipH="1">
            <a:off x="1295988" y="4498587"/>
            <a:ext cx="468649" cy="530613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Box 2">
            <a:extLst>
              <a:ext uri="{FF2B5EF4-FFF2-40B4-BE49-F238E27FC236}">
                <a16:creationId xmlns:a16="http://schemas.microsoft.com/office/drawing/2014/main" id="{D32542A8-9292-4AD3-B958-FEC90D18ED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4008" y="5029200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1" i="0" u="sng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est Texa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9,880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9,474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4D768B8-8F75-4736-B3C1-87D6D893F0E3}"/>
              </a:ext>
            </a:extLst>
          </p:cNvPr>
          <p:cNvSpPr/>
          <p:nvPr/>
        </p:nvSpPr>
        <p:spPr>
          <a:xfrm>
            <a:off x="3589608" y="3276600"/>
            <a:ext cx="1066800" cy="755158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80FB9750-80B2-494E-B517-163EEEAA0BF9}"/>
              </a:ext>
            </a:extLst>
          </p:cNvPr>
          <p:cNvCxnSpPr>
            <a:cxnSpLocks/>
            <a:stCxn id="10" idx="2"/>
          </p:cNvCxnSpPr>
          <p:nvPr/>
        </p:nvCxnSpPr>
        <p:spPr>
          <a:xfrm flipH="1" flipV="1">
            <a:off x="1608408" y="2739779"/>
            <a:ext cx="1981200" cy="91440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Box 2">
            <a:extLst>
              <a:ext uri="{FF2B5EF4-FFF2-40B4-BE49-F238E27FC236}">
                <a16:creationId xmlns:a16="http://schemas.microsoft.com/office/drawing/2014/main" id="{F5C7C1C9-7ED4-479A-AE62-3B54E9E5EC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36815" y="1373033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1" i="0" u="sng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orth Texa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50,781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</a:t>
            </a: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7,016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F6827BF-D264-4DC7-8948-50C84C777380}"/>
              </a:ext>
            </a:extLst>
          </p:cNvPr>
          <p:cNvSpPr/>
          <p:nvPr/>
        </p:nvSpPr>
        <p:spPr>
          <a:xfrm>
            <a:off x="3416032" y="2673485"/>
            <a:ext cx="2078575" cy="609957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8AC6999-5CDC-4B07-9F01-302F93A99950}"/>
              </a:ext>
            </a:extLst>
          </p:cNvPr>
          <p:cNvCxnSpPr>
            <a:cxnSpLocks/>
            <a:stCxn id="17" idx="0"/>
          </p:cNvCxnSpPr>
          <p:nvPr/>
        </p:nvCxnSpPr>
        <p:spPr>
          <a:xfrm flipH="1" flipV="1">
            <a:off x="4123008" y="2040890"/>
            <a:ext cx="332312" cy="632595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2">
            <a:extLst>
              <a:ext uri="{FF2B5EF4-FFF2-40B4-BE49-F238E27FC236}">
                <a16:creationId xmlns:a16="http://schemas.microsoft.com/office/drawing/2014/main" id="{C6002DC1-724A-46E7-9FFC-C3C51DEE99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3048" y="2286000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b="1" u="sng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entral</a:t>
            </a:r>
            <a:r>
              <a:rPr kumimoji="0" lang="en-US" altLang="en-US" sz="1400" b="1" i="0" u="sng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Texas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20,295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  </a:t>
            </a: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5,781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6ED54E35-5458-4B83-8ED7-E99EEDE5B162}"/>
              </a:ext>
            </a:extLst>
          </p:cNvPr>
          <p:cNvSpPr/>
          <p:nvPr/>
        </p:nvSpPr>
        <p:spPr>
          <a:xfrm>
            <a:off x="4740775" y="4614040"/>
            <a:ext cx="753832" cy="488305"/>
          </a:xfrm>
          <a:prstGeom prst="ellipse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26B8BC8-9416-4E96-B4BC-EB3D7EACC0A5}"/>
              </a:ext>
            </a:extLst>
          </p:cNvPr>
          <p:cNvCxnSpPr>
            <a:cxnSpLocks/>
            <a:stCxn id="25" idx="4"/>
          </p:cNvCxnSpPr>
          <p:nvPr/>
        </p:nvCxnSpPr>
        <p:spPr>
          <a:xfrm>
            <a:off x="5117691" y="5102345"/>
            <a:ext cx="148317" cy="536455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2">
            <a:extLst>
              <a:ext uri="{FF2B5EF4-FFF2-40B4-BE49-F238E27FC236}">
                <a16:creationId xmlns:a16="http://schemas.microsoft.com/office/drawing/2014/main" id="{64B2D0FA-80AB-4B5B-9EC6-E4490A0758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1208" y="5612499"/>
            <a:ext cx="120396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b="1" u="sng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Gulf Coast</a:t>
            </a:r>
            <a:endParaRPr kumimoji="0" lang="en-US" altLang="en-US" sz="1400" b="1" i="0" u="sng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G – 65,337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G – </a:t>
            </a:r>
            <a:r>
              <a:rPr lang="en-US" altLang="en-US" sz="1400" dirty="0">
                <a:solidFill>
                  <a:schemeClr val="accent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73,851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428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aQCzd5uUKEkjlRl_R8.g"/>
</p:tagLst>
</file>

<file path=ppt/theme/theme1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NMR 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40</TotalTime>
  <Words>373</Words>
  <Application>Microsoft Office PowerPoint</Application>
  <PresentationFormat>On-screen Show (4:3)</PresentationFormat>
  <Paragraphs>46</Paragraphs>
  <Slides>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Times New Roman</vt:lpstr>
      <vt:lpstr>Default Design</vt:lpstr>
      <vt:lpstr>PowerPoint Presentation</vt:lpstr>
      <vt:lpstr>AT&amp;T 3G Sunset</vt:lpstr>
      <vt:lpstr>3G Meters Deployed</vt:lpstr>
      <vt:lpstr>Supply Chain Impacts</vt:lpstr>
      <vt:lpstr>Mitigation</vt:lpstr>
      <vt:lpstr>TNMP Service Territory</vt:lpstr>
    </vt:vector>
  </TitlesOfParts>
  <Company>PN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phics</dc:creator>
  <cp:lastModifiedBy>Roberts, Bobby</cp:lastModifiedBy>
  <cp:revision>498</cp:revision>
  <dcterms:created xsi:type="dcterms:W3CDTF">2007-08-10T21:56:13Z</dcterms:created>
  <dcterms:modified xsi:type="dcterms:W3CDTF">2021-12-07T11:5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367428c-8df2-41b3-925f-2e32f93f53ed_Enabled">
    <vt:lpwstr>true</vt:lpwstr>
  </property>
  <property fmtid="{D5CDD505-2E9C-101B-9397-08002B2CF9AE}" pid="3" name="MSIP_Label_f367428c-8df2-41b3-925f-2e32f93f53ed_SetDate">
    <vt:lpwstr>2021-10-25T17:01:47Z</vt:lpwstr>
  </property>
  <property fmtid="{D5CDD505-2E9C-101B-9397-08002B2CF9AE}" pid="4" name="MSIP_Label_f367428c-8df2-41b3-925f-2e32f93f53ed_Method">
    <vt:lpwstr>Standard</vt:lpwstr>
  </property>
  <property fmtid="{D5CDD505-2E9C-101B-9397-08002B2CF9AE}" pid="5" name="MSIP_Label_f367428c-8df2-41b3-925f-2e32f93f53ed_Name">
    <vt:lpwstr>f367428c-8df2-41b3-925f-2e32f93f53ed</vt:lpwstr>
  </property>
  <property fmtid="{D5CDD505-2E9C-101B-9397-08002B2CF9AE}" pid="6" name="MSIP_Label_f367428c-8df2-41b3-925f-2e32f93f53ed_SiteId">
    <vt:lpwstr>6c1ea1fd-d5ee-4dc8-bcfe-8877bd40388b</vt:lpwstr>
  </property>
  <property fmtid="{D5CDD505-2E9C-101B-9397-08002B2CF9AE}" pid="7" name="MSIP_Label_f367428c-8df2-41b3-925f-2e32f93f53ed_ActionId">
    <vt:lpwstr>86abad68-51f6-43df-9033-9e03a6d8126c</vt:lpwstr>
  </property>
  <property fmtid="{D5CDD505-2E9C-101B-9397-08002B2CF9AE}" pid="8" name="MSIP_Label_f367428c-8df2-41b3-925f-2e32f93f53ed_ContentBits">
    <vt:lpwstr>0</vt:lpwstr>
  </property>
</Properties>
</file>